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725" r:id="rId1"/>
  </p:sldMasterIdLst>
  <p:notesMasterIdLst>
    <p:notesMasterId r:id="rId9"/>
  </p:notesMasterIdLst>
  <p:handoutMasterIdLst>
    <p:handoutMasterId r:id="rId10"/>
  </p:handoutMasterIdLst>
  <p:sldIdLst>
    <p:sldId id="647" r:id="rId2"/>
    <p:sldId id="769" r:id="rId3"/>
    <p:sldId id="773" r:id="rId4"/>
    <p:sldId id="770" r:id="rId5"/>
    <p:sldId id="771" r:id="rId6"/>
    <p:sldId id="772" r:id="rId7"/>
    <p:sldId id="774" r:id="rId8"/>
  </p:sldIdLst>
  <p:sldSz cx="9144000" cy="6858000" type="screen4x3"/>
  <p:notesSz cx="6797675" cy="9926638"/>
  <p:custDataLst>
    <p:tags r:id="rId1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Helvetica Neue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4042">
          <p15:clr>
            <a:srgbClr val="A4A3A4"/>
          </p15:clr>
        </p15:guide>
        <p15:guide id="4" pos="5624">
          <p15:clr>
            <a:srgbClr val="A4A3A4"/>
          </p15:clr>
        </p15:guide>
        <p15:guide id="5" pos="158">
          <p15:clr>
            <a:srgbClr val="A4A3A4"/>
          </p15:clr>
        </p15:guide>
        <p15:guide id="6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59"/>
    <a:srgbClr val="000000"/>
    <a:srgbClr val="C0C0C0"/>
    <a:srgbClr val="41BEFF"/>
    <a:srgbClr val="FF8000"/>
    <a:srgbClr val="CB6C1D"/>
    <a:srgbClr val="ECE8C2"/>
    <a:srgbClr val="91AC6B"/>
    <a:srgbClr val="074F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53" autoAdjust="0"/>
    <p:restoredTop sz="87035" autoAdjust="0"/>
  </p:normalViewPr>
  <p:slideViewPr>
    <p:cSldViewPr>
      <p:cViewPr varScale="1">
        <p:scale>
          <a:sx n="91" d="100"/>
          <a:sy n="91" d="100"/>
        </p:scale>
        <p:origin x="2064" y="96"/>
      </p:cViewPr>
      <p:guideLst>
        <p:guide orient="horz" pos="2160"/>
        <p:guide orient="horz" pos="618"/>
        <p:guide orient="horz" pos="4042"/>
        <p:guide pos="5624"/>
        <p:guide pos="158"/>
        <p:guide pos="2880"/>
      </p:guideLst>
    </p:cSldViewPr>
  </p:slideViewPr>
  <p:outlineViewPr>
    <p:cViewPr>
      <p:scale>
        <a:sx n="33" d="100"/>
        <a:sy n="33" d="100"/>
      </p:scale>
      <p:origin x="0" y="390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01" d="100"/>
          <a:sy n="101" d="100"/>
        </p:scale>
        <p:origin x="-2532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03239" y="184121"/>
            <a:ext cx="3348037" cy="496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8" rIns="95554" bIns="47778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de-DE" dirty="0">
              <a:latin typeface="Arial Unicode MS" pitchFamily="34" charset="-128"/>
            </a:endParaRP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54488" y="184121"/>
            <a:ext cx="2114550" cy="496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8" rIns="95554" bIns="47778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de-DE" dirty="0">
              <a:latin typeface="Arial Unicode MS" pitchFamily="34" charset="-128"/>
            </a:endParaRP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831"/>
            <a:ext cx="2946400" cy="496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8" rIns="95554" bIns="47778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endParaRPr lang="de-DE" dirty="0">
              <a:latin typeface="Arial Unicode MS" pitchFamily="34" charset="-128"/>
            </a:endParaRP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29831"/>
            <a:ext cx="2946400" cy="496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8" rIns="95554" bIns="47778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TUM Neue Helvetica 55 Regular" charset="0"/>
                <a:cs typeface="+mn-cs"/>
              </a:defRPr>
            </a:lvl1pPr>
          </a:lstStyle>
          <a:p>
            <a:pPr>
              <a:defRPr/>
            </a:pPr>
            <a:fld id="{6F17E718-27D7-4FA6-ACF7-4EB047CCD802}" type="slidenum">
              <a:rPr lang="de-DE">
                <a:latin typeface="Arial Unicode MS" pitchFamily="34" charset="-128"/>
              </a:rPr>
              <a:pPr>
                <a:defRPr/>
              </a:pPr>
              <a:t>‹Nr.›</a:t>
            </a:fld>
            <a:endParaRPr lang="de-DE" dirty="0"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919594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8" rIns="95554" bIns="47778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8" rIns="95554" bIns="47778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6125"/>
            <a:ext cx="4959350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5710"/>
            <a:ext cx="4984750" cy="4466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8" rIns="95554" bIns="4777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831"/>
            <a:ext cx="2946400" cy="496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8" rIns="95554" bIns="47778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29831"/>
            <a:ext cx="2946400" cy="496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8" rIns="95554" bIns="47778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 Unicode MS" pitchFamily="34" charset="-128"/>
                <a:cs typeface="+mn-cs"/>
              </a:defRPr>
            </a:lvl1pPr>
          </a:lstStyle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24472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38587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03567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88176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24856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93297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54724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CBFA17-2001-43FC-BD93-086B619BC2A9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711669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hyperlink" Target="http://wwwmatthes.in.tum.de" TargetMode="External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hyperlink" Target="http://www.in.tum.dehttps/www4.in.tum.de/" TargetMode="Externa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07" y="864066"/>
            <a:ext cx="9144508" cy="5993934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>
            <a:off x="457199" y="2465917"/>
            <a:ext cx="8722802" cy="130223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 dirty="0">
              <a:latin typeface="+mn-lt"/>
            </a:endParaRPr>
          </a:p>
        </p:txBody>
      </p:sp>
      <p:sp>
        <p:nvSpPr>
          <p:cNvPr id="16" name="Textfeld 15">
            <a:hlinkClick r:id="rId3"/>
          </p:cNvPr>
          <p:cNvSpPr txBox="1"/>
          <p:nvPr userDrawn="1"/>
        </p:nvSpPr>
        <p:spPr>
          <a:xfrm>
            <a:off x="0" y="4821509"/>
            <a:ext cx="8133646" cy="13607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40000" tIns="140400" rIns="144000" bIns="140400" rtlCol="0">
            <a:spAutoFit/>
          </a:bodyPr>
          <a:lstStyle/>
          <a:p>
            <a:pPr marL="180000" algn="l" rtl="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0" i="0" kern="1200" dirty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n-ea"/>
                <a:cs typeface="Arial"/>
              </a:rPr>
              <a:t>Software- and Systems Engineering Research Group </a:t>
            </a:r>
          </a:p>
          <a:p>
            <a:pPr marL="180000"/>
            <a:r>
              <a:rPr lang="de-DE" sz="1400" b="0" i="0" noProof="1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</a:rPr>
              <a:t>Fakultät für Informatik</a:t>
            </a:r>
          </a:p>
          <a:p>
            <a:pPr marL="180000"/>
            <a:r>
              <a:rPr lang="de-DE" sz="1400" b="0" i="0" noProof="1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</a:rPr>
              <a:t>Technische Universität München</a:t>
            </a:r>
          </a:p>
          <a:p>
            <a:pPr marL="180000"/>
            <a:endParaRPr lang="de-DE" sz="1400" b="0" i="0" noProof="1">
              <a:solidFill>
                <a:schemeClr val="tx1">
                  <a:lumMod val="60000"/>
                  <a:lumOff val="40000"/>
                </a:schemeClr>
              </a:solidFill>
              <a:latin typeface="+mn-lt"/>
              <a:cs typeface="Arial"/>
            </a:endParaRPr>
          </a:p>
          <a:p>
            <a:pPr marL="180000"/>
            <a:r>
              <a:rPr lang="de-DE" sz="1400" b="0" i="0" u="none" noProof="1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  <a:hlinkClick r:id="rId4"/>
              </a:rPr>
              <a:t>www4.in.tum.de/</a:t>
            </a:r>
            <a:r>
              <a:rPr lang="de-DE" sz="1400" b="0" i="0" u="none" noProof="1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cs typeface="Arial"/>
              </a:rPr>
              <a:t> </a:t>
            </a: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465387"/>
            <a:ext cx="8686800" cy="1302763"/>
          </a:xfrm>
          <a:prstGeom prst="rect">
            <a:avLst/>
          </a:prstGeom>
          <a:noFill/>
          <a:ln>
            <a:noFill/>
          </a:ln>
        </p:spPr>
        <p:txBody>
          <a:bodyPr anchor="b" anchorCtr="0">
            <a:normAutofit/>
          </a:bodyPr>
          <a:lstStyle>
            <a:lvl1pPr marL="180000" algn="l">
              <a:defRPr sz="3200" b="1" i="0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de-DE" noProof="0" dirty="0"/>
              <a:t>&lt;Titel&gt;</a:t>
            </a:r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199" y="3766608"/>
            <a:ext cx="8722802" cy="369332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>
            <a:lvl1pPr marL="180000" indent="0">
              <a:buFontTx/>
              <a:buNone/>
              <a:defRPr sz="1800" b="0" baseline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&lt;Vortragender&gt; &lt;Datum&gt; &lt;Ort&gt;</a:t>
            </a:r>
          </a:p>
        </p:txBody>
      </p:sp>
      <p:pic>
        <p:nvPicPr>
          <p:cNvPr id="23" name="Bild 6" descr="TUMLogo_mZ_L_Vollflaeche_negativ_RGB (1).png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9089"/>
          <a:stretch/>
        </p:blipFill>
        <p:spPr>
          <a:xfrm>
            <a:off x="6268888" y="397986"/>
            <a:ext cx="1830684" cy="362712"/>
          </a:xfrm>
          <a:prstGeom prst="rect">
            <a:avLst/>
          </a:prstGeom>
        </p:spPr>
      </p:pic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827" y="44451"/>
            <a:ext cx="7535885" cy="720725"/>
          </a:xfrm>
        </p:spPr>
        <p:txBody>
          <a:bodyPr/>
          <a:lstStyle>
            <a:lvl1pPr>
              <a:defRPr lang="de-DE" sz="2400" b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de-DE" noProof="0" dirty="0"/>
              <a:t>&lt;Titel&gt;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3pPr>
              <a:defRPr/>
            </a:lvl3pPr>
          </a:lstStyle>
          <a:p>
            <a:pPr lvl="0"/>
            <a:r>
              <a:rPr lang="de-DE" noProof="0" dirty="0"/>
              <a:t>&lt;Text&gt;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roject Name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7037388" y="6570615"/>
            <a:ext cx="1606550" cy="288925"/>
          </a:xfrm>
        </p:spPr>
        <p:txBody>
          <a:bodyPr/>
          <a:lstStyle/>
          <a:p>
            <a:r>
              <a:rPr lang="de-DE"/>
              <a:t>Software- and Systems Engineering Research Group</a:t>
            </a:r>
            <a:endParaRPr lang="de-DE" dirty="0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827" y="81212"/>
            <a:ext cx="7535885" cy="360535"/>
          </a:xfrm>
        </p:spPr>
        <p:txBody>
          <a:bodyPr/>
          <a:lstStyle>
            <a:lvl1pPr>
              <a:defRPr lang="de-DE" sz="2400" b="0" baseline="0" smtClean="0">
                <a:solidFill>
                  <a:schemeClr val="bg1"/>
                </a:solidFill>
                <a:latin typeface="+mj-lt"/>
                <a:ea typeface="+mj-ea"/>
                <a:cs typeface="Arial Unicode MS" pitchFamily="34" charset="-128"/>
              </a:defRPr>
            </a:lvl1pPr>
          </a:lstStyle>
          <a:p>
            <a:r>
              <a:rPr lang="de-DE" noProof="0" dirty="0"/>
              <a:t>&lt;Titel&gt;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3pPr>
              <a:defRPr/>
            </a:lvl3pPr>
          </a:lstStyle>
          <a:p>
            <a:pPr lvl="0"/>
            <a:r>
              <a:rPr lang="de-DE" noProof="0" dirty="0"/>
              <a:t>&lt;Text&gt;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oftware- and Systems Engineering Research Group</a:t>
            </a:r>
            <a:endParaRPr lang="de-D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roject Name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C9FAB-BDC1-47C0-A8BB-6E12A8205D33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441425"/>
            <a:ext cx="7561263" cy="395287"/>
          </a:xfrm>
        </p:spPr>
        <p:txBody>
          <a:bodyPr/>
          <a:lstStyle>
            <a:lvl1pPr>
              <a:defRPr sz="2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noProof="0" dirty="0"/>
              <a:t>&lt;</a:t>
            </a:r>
            <a:r>
              <a:rPr lang="en-US" noProof="0" dirty="0" err="1"/>
              <a:t>Untertitel</a:t>
            </a:r>
            <a:r>
              <a:rPr lang="en-US" noProof="0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3517934724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 dirty="0"/>
              <a:t>&lt;Titel&gt;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50827" y="981076"/>
            <a:ext cx="4244975" cy="540067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dirty="0"/>
              <a:t>&lt;Text&gt;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48201" y="981076"/>
            <a:ext cx="4244975" cy="540067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dirty="0"/>
              <a:t>&lt;Text&gt;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oftware- and Systems Engineering Research Group</a:t>
            </a:r>
            <a:endParaRPr lang="de-DE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roject Name</a:t>
            </a:r>
            <a:endParaRPr lang="de-DE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6C9E22-1B76-46A8-871B-C48D8E59C6F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250827" y="981074"/>
            <a:ext cx="4246563" cy="661976"/>
          </a:xfr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&lt;</a:t>
            </a:r>
            <a:r>
              <a:rPr lang="en-US" noProof="0" dirty="0" err="1"/>
              <a:t>Titel</a:t>
            </a:r>
            <a:r>
              <a:rPr lang="en-US" noProof="0" dirty="0"/>
              <a:t>&gt;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50827" y="1643049"/>
            <a:ext cx="4246563" cy="477362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&lt;Text&gt;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5" y="981078"/>
            <a:ext cx="4248150" cy="661975"/>
          </a:xfr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none"/>
        </p:style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&lt;</a:t>
            </a:r>
            <a:r>
              <a:rPr lang="en-US" noProof="0" dirty="0" err="1"/>
              <a:t>Titel</a:t>
            </a:r>
            <a:r>
              <a:rPr lang="en-US" noProof="0" dirty="0"/>
              <a:t>&gt;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4645025" y="1643049"/>
            <a:ext cx="4248150" cy="4773625"/>
          </a:xfr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none"/>
        </p:style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&lt;Text&gt;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250827" y="44451"/>
            <a:ext cx="7535885" cy="720725"/>
          </a:xfrm>
        </p:spPr>
        <p:txBody>
          <a:bodyPr/>
          <a:lstStyle/>
          <a:p>
            <a:r>
              <a:rPr lang="de-DE" noProof="0" dirty="0"/>
              <a:t>&lt;Titel&gt;</a:t>
            </a:r>
            <a:endParaRPr lang="en-US" noProof="0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noProof="0"/>
              <a:t>Software- and Systems Engineering Research Group</a:t>
            </a:r>
            <a:endParaRPr lang="en-US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roject Name</a:t>
            </a:r>
            <a:endParaRPr lang="de-DE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A2CCB4-7108-4850-98BC-50E3A501EADB}" type="slidenum">
              <a:rPr lang="en-US" noProof="0" smtClean="0"/>
              <a:pPr>
                <a:defRPr/>
              </a:pPr>
              <a:t>‹Nr.›</a:t>
            </a:fld>
            <a:endParaRPr lang="en-US" noProof="0" dirty="0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 dirty="0"/>
              <a:t>&lt;Titel&gt;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noProof="0"/>
              <a:t>Software- and Systems Engineering Research Group</a:t>
            </a:r>
            <a:endParaRPr lang="de-DE" noProof="0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roject Name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F79391-FD8B-4951-B07A-A389C4C7CA7B}" type="slidenum">
              <a:rPr lang="de-DE" noProof="0"/>
              <a:pPr>
                <a:defRPr/>
              </a:pPr>
              <a:t>‹Nr.›</a:t>
            </a:fld>
            <a:endParaRPr lang="de-DE" noProof="0" dirty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oftware- and Systems Engineering Research Group</a:t>
            </a:r>
            <a:endParaRPr lang="de-DE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Thesis Title </a:t>
            </a:r>
            <a:endParaRPr lang="de-DE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677BDD-BB6C-4858-BC45-195633B2F28C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lied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50826" y="981076"/>
            <a:ext cx="8642351" cy="5400675"/>
          </a:xfrm>
        </p:spPr>
        <p:txBody>
          <a:bodyPr>
            <a:normAutofit/>
          </a:bodyPr>
          <a:lstStyle>
            <a:lvl1pPr>
              <a:defRPr>
                <a:latin typeface="+mn-lt"/>
              </a:defRPr>
            </a:lvl1pPr>
            <a:lvl2pPr>
              <a:buClr>
                <a:schemeClr val="tx2"/>
              </a:buClr>
              <a:defRPr lang="de-DE" sz="1800" dirty="0" smtClean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>
              <a:buClr>
                <a:schemeClr val="tx2"/>
              </a:buClr>
              <a:defRPr>
                <a:solidFill>
                  <a:schemeClr val="tx1"/>
                </a:solidFill>
                <a:latin typeface="+mn-lt"/>
              </a:defRPr>
            </a:lvl3pPr>
            <a:lvl4pPr>
              <a:buClr>
                <a:schemeClr val="tx2"/>
              </a:buClr>
              <a:defRPr>
                <a:solidFill>
                  <a:schemeClr val="tx1"/>
                </a:solidFill>
                <a:latin typeface="+mn-lt"/>
              </a:defRPr>
            </a:lvl4pPr>
            <a:lvl5pPr>
              <a:buClr>
                <a:schemeClr val="tx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&lt;Text&gt;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827" y="44451"/>
            <a:ext cx="7535885" cy="7207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 noProof="0" dirty="0"/>
              <a:t>&lt;Titel&gt;</a:t>
            </a:r>
            <a:endParaRPr lang="de-D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r>
              <a:rPr lang="de-DE"/>
              <a:t>Software- and Systems Engineering Research Group</a:t>
            </a:r>
            <a:endParaRPr lang="de-D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r>
              <a:rPr lang="en-US" dirty="0"/>
              <a:t>Project Name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fld id="{E201E5CB-5EE0-4EA4-87FF-7D8A79A61969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 bwMode="auto">
          <a:xfrm>
            <a:off x="0" y="6597352"/>
            <a:ext cx="9143492" cy="26064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-508" y="8620"/>
            <a:ext cx="9144000" cy="87271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noProof="0" dirty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25" y="44450"/>
            <a:ext cx="753586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0" rIns="9000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&lt;Titel&gt;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981075"/>
            <a:ext cx="8642350" cy="540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&lt;Text&gt;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037388" y="6570615"/>
            <a:ext cx="16065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800" smtClean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Software- and Systems Engineering Research Group</a:t>
            </a:r>
            <a:endParaRPr lang="de-DE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49677" y="6569075"/>
            <a:ext cx="4321175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Project Name</a:t>
            </a:r>
            <a:endParaRPr lang="de-DE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43938" y="6570615"/>
            <a:ext cx="2492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E4FF76D-8657-43F1-929B-F6D2FAB2741A}" type="slidenum">
              <a:rPr lang="de-DE" noProof="0" smtClean="0"/>
              <a:pPr>
                <a:defRPr/>
              </a:pPr>
              <a:t>‹Nr.›</a:t>
            </a:fld>
            <a:endParaRPr lang="de-DE" noProof="0" dirty="0"/>
          </a:p>
        </p:txBody>
      </p:sp>
      <p:pic>
        <p:nvPicPr>
          <p:cNvPr id="10" name="Bild 6" descr="TUMLogo_mZ_L_Vollflaeche_negativ_RGB (1).pn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72400" y="377716"/>
            <a:ext cx="680487" cy="36271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65" r:id="rId2"/>
    <p:sldLayoutId id="2147483778" r:id="rId3"/>
    <p:sldLayoutId id="2147483766" r:id="rId4"/>
    <p:sldLayoutId id="2147483767" r:id="rId5"/>
    <p:sldLayoutId id="2147483768" r:id="rId6"/>
    <p:sldLayoutId id="2147483769" r:id="rId7"/>
    <p:sldLayoutId id="2147483771" r:id="rId8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0" i="0" baseline="0">
          <a:solidFill>
            <a:schemeClr val="bg1"/>
          </a:solidFill>
          <a:latin typeface="+mn-lt"/>
          <a:ea typeface="+mj-ea"/>
          <a:cs typeface="Arial Unicode MS" pitchFamily="34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1588" indent="-1588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Arial Unicode MS" pitchFamily="34" charset="-128"/>
        </a:defRPr>
      </a:lvl1pPr>
      <a:lvl2pPr marL="358775" indent="-2603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baseline="0">
          <a:solidFill>
            <a:schemeClr val="tx1"/>
          </a:solidFill>
          <a:latin typeface="+mn-lt"/>
          <a:cs typeface="Arial Unicode MS" pitchFamily="34" charset="-128"/>
        </a:defRPr>
      </a:lvl2pPr>
      <a:lvl3pPr marL="625475" indent="-176213" algn="l" defTabSz="803275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baseline="0">
          <a:solidFill>
            <a:schemeClr val="tx1"/>
          </a:solidFill>
          <a:latin typeface="+mn-lt"/>
          <a:cs typeface="Arial Unicode MS" pitchFamily="34" charset="-128"/>
        </a:defRPr>
      </a:lvl3pPr>
      <a:lvl4pPr marL="982663" indent="-1746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cs typeface="Arial Unicode MS" pitchFamily="34" charset="-128"/>
        </a:defRPr>
      </a:lvl4pPr>
      <a:lvl5pPr marL="1257300" indent="-1825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cs typeface="Arial Unicode MS" pitchFamily="34" charset="-128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tags" Target="../tags/tag5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tags" Target="../tags/tag7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9.xml"/><Relationship Id="rId7" Type="http://schemas.openxmlformats.org/officeDocument/2006/relationships/image" Target="../media/image4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1.xml"/><Relationship Id="rId7" Type="http://schemas.openxmlformats.org/officeDocument/2006/relationships/image" Target="../media/image4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4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5.xml"/><Relationship Id="rId7" Type="http://schemas.openxmlformats.org/officeDocument/2006/relationships/image" Target="../media/image10.emf"/><Relationship Id="rId12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microsoft.com/office/2007/relationships/hdphoto" Target="../media/hdphoto2.wdp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2.xml"/><Relationship Id="rId9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B573842-44B7-40C7-B54F-F268A38025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3490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C1A13B8-DA63-417C-AAE2-B749E05CD3A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DE" sz="32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465387"/>
            <a:ext cx="8686800" cy="1035621"/>
          </a:xfrm>
        </p:spPr>
        <p:txBody>
          <a:bodyPr>
            <a:normAutofit/>
          </a:bodyPr>
          <a:lstStyle/>
          <a:p>
            <a:r>
              <a:rPr lang="de-DE" dirty="0"/>
              <a:t>Team </a:t>
            </a:r>
            <a:r>
              <a:rPr lang="de-DE" dirty="0" err="1"/>
              <a:t>Number</a:t>
            </a:r>
            <a:r>
              <a:rPr lang="de-DE" dirty="0"/>
              <a:t>: 6 </a:t>
            </a:r>
            <a:br>
              <a:rPr lang="de-DE" dirty="0"/>
            </a:br>
            <a:r>
              <a:rPr lang="de-DE" spc="-1" dirty="0" err="1">
                <a:solidFill>
                  <a:srgbClr val="002143"/>
                </a:solidFill>
                <a:uFill>
                  <a:solidFill>
                    <a:srgbClr val="FFFFFF"/>
                  </a:solidFill>
                </a:uFill>
              </a:rPr>
              <a:t>Distance</a:t>
            </a:r>
            <a:r>
              <a:rPr lang="de-DE" spc="-1" dirty="0">
                <a:solidFill>
                  <a:srgbClr val="002143"/>
                </a:solidFill>
                <a:uFill>
                  <a:solidFill>
                    <a:srgbClr val="FFFFFF"/>
                  </a:solidFill>
                </a:uFill>
              </a:rPr>
              <a:t> </a:t>
            </a:r>
            <a:r>
              <a:rPr lang="de-DE" spc="-1" dirty="0" err="1">
                <a:solidFill>
                  <a:srgbClr val="002143"/>
                </a:solidFill>
                <a:uFill>
                  <a:solidFill>
                    <a:srgbClr val="FFFFFF"/>
                  </a:solidFill>
                </a:uFill>
              </a:rPr>
              <a:t>Based</a:t>
            </a:r>
            <a:r>
              <a:rPr lang="de-DE" spc="-1" dirty="0">
                <a:solidFill>
                  <a:srgbClr val="002143"/>
                </a:solidFill>
                <a:uFill>
                  <a:solidFill>
                    <a:srgbClr val="FFFFFF"/>
                  </a:solidFill>
                </a:uFill>
              </a:rPr>
              <a:t> </a:t>
            </a:r>
            <a:r>
              <a:rPr lang="de-DE" spc="-1" dirty="0" err="1">
                <a:solidFill>
                  <a:srgbClr val="002143"/>
                </a:solidFill>
                <a:uFill>
                  <a:solidFill>
                    <a:srgbClr val="FFFFFF"/>
                  </a:solidFill>
                </a:uFill>
              </a:rPr>
              <a:t>Application</a:t>
            </a:r>
            <a:r>
              <a:rPr lang="de-DE" spc="-1" dirty="0">
                <a:solidFill>
                  <a:srgbClr val="002143"/>
                </a:solidFill>
                <a:uFill>
                  <a:solidFill>
                    <a:srgbClr val="FFFFFF"/>
                  </a:solidFill>
                </a:uFill>
              </a:rPr>
              <a:t> Trigger</a:t>
            </a:r>
            <a:endParaRPr lang="de-DE" sz="2000" b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Arial Unicode MS" pitchFamily="34" charset="-128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 Mehdi </a:t>
            </a:r>
            <a:r>
              <a:rPr lang="en-US" dirty="0" err="1"/>
              <a:t>Yosofie</a:t>
            </a:r>
            <a:r>
              <a:rPr lang="en-US" dirty="0"/>
              <a:t> &amp; Philipp Schlieker, 21.12.2018</a:t>
            </a:r>
          </a:p>
        </p:txBody>
      </p:sp>
    </p:spTree>
    <p:extLst>
      <p:ext uri="{BB962C8B-B14F-4D97-AF65-F5344CB8AC3E}">
        <p14:creationId xmlns:p14="http://schemas.microsoft.com/office/powerpoint/2010/main" val="16805248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1D46963-99C1-4239-BDCD-1C3BD0854C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6545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A025834-1084-424F-8474-E226A27648C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IN" sz="28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800" dirty="0"/>
              <a:t>Distance Based Application Trigger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istance Based Application Trigger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oftware- and Systems Engineering Research Group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9BDC0B6-F432-4D2F-B1A8-8FF560396B7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04864"/>
            <a:ext cx="8893175" cy="2730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423128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1D46963-99C1-4239-BDCD-1C3BD0854C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1D46963-99C1-4239-BDCD-1C3BD0854C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A025834-1084-424F-8474-E226A27648C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IN" sz="28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800" dirty="0"/>
              <a:t>Distance Based Application Trigger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istance Based Application Trigger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oftware- and Systems Engineering Research Group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A64032D-ADF5-4856-BAC3-1238045BDE1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32856"/>
            <a:ext cx="8893175" cy="273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590992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1D46963-99C1-4239-BDCD-1C3BD0854C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9932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1D46963-99C1-4239-BDCD-1C3BD0854C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A025834-1084-424F-8474-E226A27648C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IN" sz="28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800" dirty="0"/>
              <a:t>Conceptual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endParaRPr lang="en-IN" sz="24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istance Based Application Trigger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oftware- and Systems Engineering Research Group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3D64BEA-94A3-46F8-8025-10F9DBDE3361}"/>
              </a:ext>
            </a:extLst>
          </p:cNvPr>
          <p:cNvPicPr/>
          <p:nvPr/>
        </p:nvPicPr>
        <p:blipFill>
          <a:blip r:embed="rId8"/>
          <a:stretch/>
        </p:blipFill>
        <p:spPr>
          <a:xfrm>
            <a:off x="227880" y="1224720"/>
            <a:ext cx="8687880" cy="502884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88092953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1D46963-99C1-4239-BDCD-1C3BD0854C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4525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1D46963-99C1-4239-BDCD-1C3BD0854C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A025834-1084-424F-8474-E226A27648C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IN" sz="28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800" dirty="0"/>
              <a:t>Sensors us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064" y="5355922"/>
            <a:ext cx="4873824" cy="792088"/>
          </a:xfrm>
        </p:spPr>
        <p:txBody>
          <a:bodyPr>
            <a:normAutofit/>
          </a:bodyPr>
          <a:lstStyle/>
          <a:p>
            <a:pPr marL="0" indent="0" algn="ctr"/>
            <a:r>
              <a:rPr lang="en-IN" sz="2400" dirty="0"/>
              <a:t>Bluetooth Low Energy (BLE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istance Based Application Trigger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oftware- and Systems Engineering Research Group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1ABE0B2-D178-459F-8C84-DB5CA780AC42}"/>
              </a:ext>
            </a:extLst>
          </p:cNvPr>
          <p:cNvPicPr/>
          <p:nvPr/>
        </p:nvPicPr>
        <p:blipFill>
          <a:blip r:embed="rId8"/>
          <a:stretch/>
        </p:blipFill>
        <p:spPr>
          <a:xfrm>
            <a:off x="492152" y="1506872"/>
            <a:ext cx="3846200" cy="3178296"/>
          </a:xfrm>
          <a:prstGeom prst="rect">
            <a:avLst/>
          </a:prstGeom>
          <a:ln>
            <a:noFill/>
          </a:ln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89A7304-EB30-444E-849B-DA84B7ED2E77}"/>
              </a:ext>
            </a:extLst>
          </p:cNvPr>
          <p:cNvPicPr/>
          <p:nvPr/>
        </p:nvPicPr>
        <p:blipFill>
          <a:blip r:embed="rId9"/>
          <a:stretch/>
        </p:blipFill>
        <p:spPr>
          <a:xfrm>
            <a:off x="5214459" y="1506872"/>
            <a:ext cx="3228920" cy="3178296"/>
          </a:xfrm>
          <a:prstGeom prst="rect">
            <a:avLst/>
          </a:prstGeom>
          <a:ln>
            <a:noFill/>
          </a:ln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B325F1B-67A9-4A9D-819B-6A44241FB929}"/>
              </a:ext>
            </a:extLst>
          </p:cNvPr>
          <p:cNvSpPr txBox="1">
            <a:spLocks/>
          </p:cNvSpPr>
          <p:nvPr/>
        </p:nvSpPr>
        <p:spPr bwMode="auto">
          <a:xfrm>
            <a:off x="4764663" y="5355922"/>
            <a:ext cx="4128512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1588" indent="-1588"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Arial Unicode MS" pitchFamily="34" charset="-128"/>
              </a:defRPr>
            </a:lvl1pPr>
            <a:lvl2pPr marL="358775" indent="-2603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2pPr>
            <a:lvl3pPr marL="625475" indent="-176213" algn="l" defTabSz="8032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baseline="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3pPr>
            <a:lvl4pPr marL="982663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4pPr>
            <a:lvl5pPr marL="1257300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Arial Unicode MS" pitchFamily="34" charset="-128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/>
            <a:r>
              <a:rPr lang="en-IN" sz="2400" kern="0" dirty="0"/>
              <a:t>Beacons</a:t>
            </a:r>
          </a:p>
        </p:txBody>
      </p:sp>
    </p:spTree>
    <p:extLst>
      <p:ext uri="{BB962C8B-B14F-4D97-AF65-F5344CB8AC3E}">
        <p14:creationId xmlns:p14="http://schemas.microsoft.com/office/powerpoint/2010/main" val="3876336443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1D46963-99C1-4239-BDCD-1C3BD0854C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4962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1D46963-99C1-4239-BDCD-1C3BD0854C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A025834-1084-424F-8474-E226A27648C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IN" sz="28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800" dirty="0"/>
              <a:t>Potential Problem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Accuracy of position estimat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Response time for detection of beacons in the backgroun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Compatibility of different beaco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Compatibility of BLE libraries between Android versio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IN" sz="24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istance Based Application Trigger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oftware- and Systems Engineering Research Grou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9193248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D84E6F0-C160-48B3-956E-4DEBCFCE2F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2692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1DC4942C-67D1-4AEF-9FB3-FA97575A5D0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en-IN" sz="28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800" dirty="0"/>
              <a:t>How would the prototype function?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istance Based Application Trigger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BC9FAB-BDC1-47C0-A8BB-6E12A8205D33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oftware- and Systems Engineering Research Group</a:t>
            </a:r>
            <a:endParaRPr lang="de-DE" dirty="0"/>
          </a:p>
        </p:txBody>
      </p:sp>
      <p:pic>
        <p:nvPicPr>
          <p:cNvPr id="13" name="Inhaltsplatzhalter 12">
            <a:extLst>
              <a:ext uri="{FF2B5EF4-FFF2-40B4-BE49-F238E27FC236}">
                <a16:creationId xmlns:a16="http://schemas.microsoft.com/office/drawing/2014/main" id="{F7FF8504-E6E9-404C-A5E0-5FA708D0648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8">
            <a:alphaModFix amt="7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6200"/>
                    </a14:imgEffect>
                    <a14:imgEffect>
                      <a14:saturation sat="2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2695" y="1499197"/>
            <a:ext cx="2596314" cy="2356391"/>
          </a:xfr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0E09869-0AD4-458A-A971-9F069C8024C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alphaModFix amt="85000"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459936"/>
            <a:ext cx="3032805" cy="235639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D21DAA5-833B-4B22-870C-A55AD9AAFD01}"/>
              </a:ext>
            </a:extLst>
          </p:cNvPr>
          <p:cNvPicPr/>
          <p:nvPr/>
        </p:nvPicPr>
        <p:blipFill>
          <a:blip r:embed="rId12">
            <a:duotone>
              <a:prstClr val="black"/>
              <a:schemeClr val="tx2">
                <a:tint val="45000"/>
                <a:satMod val="400000"/>
              </a:schemeClr>
            </a:duotone>
          </a:blip>
          <a:stretch/>
        </p:blipFill>
        <p:spPr>
          <a:xfrm>
            <a:off x="6219919" y="1459935"/>
            <a:ext cx="2596315" cy="2356391"/>
          </a:xfrm>
          <a:prstGeom prst="rect">
            <a:avLst/>
          </a:prstGeom>
          <a:ln>
            <a:noFill/>
          </a:ln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3D784E9F-BCCD-47FA-B3E2-61F4E4A4083D}"/>
              </a:ext>
            </a:extLst>
          </p:cNvPr>
          <p:cNvSpPr txBox="1"/>
          <p:nvPr/>
        </p:nvSpPr>
        <p:spPr>
          <a:xfrm>
            <a:off x="107503" y="4002557"/>
            <a:ext cx="3032805" cy="12003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de-DE" sz="2400" b="1" dirty="0"/>
              <a:t>Android App</a:t>
            </a:r>
          </a:p>
          <a:p>
            <a:pPr algn="ctr"/>
            <a:r>
              <a:rPr lang="de-DE" sz="2400" dirty="0" err="1"/>
              <a:t>using</a:t>
            </a:r>
            <a:r>
              <a:rPr lang="de-DE" sz="2400" dirty="0"/>
              <a:t> </a:t>
            </a:r>
            <a:r>
              <a:rPr lang="de-DE" sz="2400" dirty="0" err="1"/>
              <a:t>AltBeacon</a:t>
            </a:r>
            <a:r>
              <a:rPr lang="de-DE" sz="2400" dirty="0"/>
              <a:t> Framework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7E2A932E-8DD7-4227-87B9-83FE5482CA09}"/>
              </a:ext>
            </a:extLst>
          </p:cNvPr>
          <p:cNvSpPr txBox="1"/>
          <p:nvPr/>
        </p:nvSpPr>
        <p:spPr>
          <a:xfrm>
            <a:off x="3002618" y="4002558"/>
            <a:ext cx="3032805" cy="15696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de-DE" sz="2400" b="1" dirty="0"/>
              <a:t>API</a:t>
            </a:r>
          </a:p>
          <a:p>
            <a:pPr algn="ctr"/>
            <a:r>
              <a:rPr lang="de-DE" sz="2400" dirty="0" err="1"/>
              <a:t>using</a:t>
            </a:r>
            <a:r>
              <a:rPr lang="de-DE" sz="2400" dirty="0"/>
              <a:t> Raspberry Pi </a:t>
            </a:r>
            <a:r>
              <a:rPr lang="de-DE" sz="2400" dirty="0" err="1"/>
              <a:t>or</a:t>
            </a:r>
            <a:r>
              <a:rPr lang="de-DE" sz="2400" dirty="0"/>
              <a:t> </a:t>
            </a:r>
            <a:r>
              <a:rPr lang="de-DE" sz="2400" dirty="0" err="1"/>
              <a:t>Sonoff</a:t>
            </a:r>
            <a:r>
              <a:rPr lang="de-DE" sz="2400" dirty="0"/>
              <a:t> Smart Switch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347F3548-645C-42D9-A61F-156CC6A97FEB}"/>
              </a:ext>
            </a:extLst>
          </p:cNvPr>
          <p:cNvSpPr txBox="1"/>
          <p:nvPr/>
        </p:nvSpPr>
        <p:spPr>
          <a:xfrm>
            <a:off x="6035423" y="4002557"/>
            <a:ext cx="3032805" cy="19389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de-DE" sz="2400" b="1" dirty="0"/>
              <a:t>Beacon</a:t>
            </a:r>
          </a:p>
          <a:p>
            <a:pPr algn="ctr"/>
            <a:r>
              <a:rPr lang="de-DE" sz="2400" dirty="0" err="1"/>
              <a:t>using</a:t>
            </a:r>
            <a:r>
              <a:rPr lang="de-DE" sz="2400" dirty="0"/>
              <a:t> Raspberry Pi,</a:t>
            </a:r>
          </a:p>
          <a:p>
            <a:pPr algn="ctr"/>
            <a:r>
              <a:rPr lang="de-DE" sz="2400" dirty="0"/>
              <a:t>Laptop </a:t>
            </a:r>
            <a:r>
              <a:rPr lang="de-DE" sz="2400" dirty="0" err="1"/>
              <a:t>or</a:t>
            </a:r>
            <a:r>
              <a:rPr lang="de-DE" sz="2400" dirty="0"/>
              <a:t> </a:t>
            </a:r>
            <a:r>
              <a:rPr lang="de-DE" sz="2400" dirty="0" err="1"/>
              <a:t>dedicated</a:t>
            </a:r>
            <a:r>
              <a:rPr lang="de-DE" sz="2400" dirty="0"/>
              <a:t> Beacon</a:t>
            </a:r>
          </a:p>
          <a:p>
            <a:pPr algn="ctr"/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300549743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8XNLiQTewn8V0VZ3Q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8XNLiQTewn8V0VZ3Qo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sk_zXGTaOQAUqFsmeD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G_iNhFRKKmKoN_FwTA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8XNLiQTewn8V0VZ3Q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8XNLiQTewn8V0VZ3Q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8XNLiQTewn8V0VZ3Qow"/>
</p:tagLst>
</file>

<file path=ppt/theme/theme1.xml><?xml version="1.0" encoding="utf-8"?>
<a:theme xmlns:a="http://schemas.openxmlformats.org/drawingml/2006/main" name="140123 Matthes Folien sebis 2014">
  <a:themeElements>
    <a:clrScheme name="Benutzerdefiniert 2">
      <a:dk1>
        <a:srgbClr val="000000"/>
      </a:dk1>
      <a:lt1>
        <a:srgbClr val="FFFFFF"/>
      </a:lt1>
      <a:dk2>
        <a:srgbClr val="002143"/>
      </a:dk2>
      <a:lt2>
        <a:srgbClr val="EEECE1"/>
      </a:lt2>
      <a:accent1>
        <a:srgbClr val="91A02F"/>
      </a:accent1>
      <a:accent2>
        <a:srgbClr val="E37C4D"/>
      </a:accent2>
      <a:accent3>
        <a:srgbClr val="DAD7CB"/>
      </a:accent3>
      <a:accent4>
        <a:srgbClr val="003359"/>
      </a:accent4>
      <a:accent5>
        <a:srgbClr val="0073CF"/>
      </a:accent5>
      <a:accent6>
        <a:srgbClr val="98C6EA"/>
      </a:accent6>
      <a:hlink>
        <a:srgbClr val="64A0C8"/>
      </a:hlink>
      <a:folHlink>
        <a:srgbClr val="64A0C8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a:style>
    </a:spDef>
    <a:lnDef>
      <a:spPr bwMode="auto">
        <a:ln>
          <a:headEnd type="none" w="med" len="med"/>
          <a:tailEnd type="none" w="med" len="med"/>
        </a:ln>
      </a:spPr>
      <a:bodyPr/>
      <a:lstStyle/>
      <a:style>
        <a:lnRef idx="3">
          <a:schemeClr val="dk1"/>
        </a:lnRef>
        <a:fillRef idx="0">
          <a:schemeClr val="dk1"/>
        </a:fillRef>
        <a:effectRef idx="2">
          <a:schemeClr val="dk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none" rtlCol="0">
        <a:spAutoFit/>
      </a:bodyPr>
      <a:lstStyle>
        <a:defPPr>
          <a:defRPr dirty="0" smtClean="0">
            <a:latin typeface="Arial" pitchFamily="34" charset="0"/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8</Words>
  <Application>Microsoft Office PowerPoint</Application>
  <PresentationFormat>Bildschirmpräsentation (4:3)</PresentationFormat>
  <Paragraphs>46</Paragraphs>
  <Slides>7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4" baseType="lpstr">
      <vt:lpstr>Arial</vt:lpstr>
      <vt:lpstr>Arial Unicode MS</vt:lpstr>
      <vt:lpstr>Helvetica Neue</vt:lpstr>
      <vt:lpstr>TUM Neue Helvetica 75 Bold</vt:lpstr>
      <vt:lpstr>Wingdings</vt:lpstr>
      <vt:lpstr>140123 Matthes Folien sebis 2014</vt:lpstr>
      <vt:lpstr>think-cell Folie</vt:lpstr>
      <vt:lpstr>Team Number: 6  Distance Based Application Trigger</vt:lpstr>
      <vt:lpstr>Distance Based Application Trigger</vt:lpstr>
      <vt:lpstr>Distance Based Application Trigger</vt:lpstr>
      <vt:lpstr>Conceptual approach</vt:lpstr>
      <vt:lpstr>Sensors used</vt:lpstr>
      <vt:lpstr>Potential Problems</vt:lpstr>
      <vt:lpstr>How would the prototype function?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8T12:30:02Z</cp:lastPrinted>
  <dcterms:created xsi:type="dcterms:W3CDTF">2014-12-17T12:44:59Z</dcterms:created>
  <dcterms:modified xsi:type="dcterms:W3CDTF">2018-12-20T16:05:01Z</dcterms:modified>
  <cp:category/>
</cp:coreProperties>
</file>